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0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9F7DF9-91C1-4474-8BB8-D0D096164FC9}" v="49" dt="2023-03-09T23:03:32.66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32" y="750"/>
      </p:cViewPr>
      <p:guideLst>
        <p:guide orient="horz" pos="648"/>
        <p:guide pos="3552"/>
        <p:guide pos="7584"/>
        <p:guide orient="horz" pos="4032"/>
        <p:guide pos="96"/>
        <p:guide pos="2856"/>
        <p:guide pos="576"/>
        <p:guide orient="horz" pos="3840"/>
        <p:guide orient="horz" pos="816"/>
        <p:guide orient="horz" pos="1032"/>
        <p:guide orient="horz" pos="3600"/>
        <p:guide orient="horz" pos="230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1D9F7DF9-91C1-4474-8BB8-D0D096164FC9}"/>
    <pc:docChg chg="undo custSel modSld">
      <pc:chgData name="Roberto Gallardo" userId="49a044883f185952" providerId="LiveId" clId="{1D9F7DF9-91C1-4474-8BB8-D0D096164FC9}" dt="2023-03-09T23:03:43.125" v="349" actId="1036"/>
      <pc:docMkLst>
        <pc:docMk/>
      </pc:docMkLst>
      <pc:sldChg chg="addSp modSp mod">
        <pc:chgData name="Roberto Gallardo" userId="49a044883f185952" providerId="LiveId" clId="{1D9F7DF9-91C1-4474-8BB8-D0D096164FC9}" dt="2023-03-09T22:58:35.469" v="52" actId="1076"/>
        <pc:sldMkLst>
          <pc:docMk/>
          <pc:sldMk cId="1418533539" sldId="271"/>
        </pc:sldMkLst>
        <pc:picChg chg="add mod">
          <ac:chgData name="Roberto Gallardo" userId="49a044883f185952" providerId="LiveId" clId="{1D9F7DF9-91C1-4474-8BB8-D0D096164FC9}" dt="2023-03-09T22:58:35.469" v="52" actId="1076"/>
          <ac:picMkLst>
            <pc:docMk/>
            <pc:sldMk cId="1418533539" sldId="271"/>
            <ac:picMk id="6" creationId="{09170512-1511-DAD8-EB98-F3BEC2C8C4C6}"/>
          </ac:picMkLst>
        </pc:picChg>
      </pc:sldChg>
      <pc:sldChg chg="addSp modSp mod">
        <pc:chgData name="Roberto Gallardo" userId="49a044883f185952" providerId="LiveId" clId="{1D9F7DF9-91C1-4474-8BB8-D0D096164FC9}" dt="2023-03-09T23:00:23.905" v="128" actId="1035"/>
        <pc:sldMkLst>
          <pc:docMk/>
          <pc:sldMk cId="2124848710" sldId="281"/>
        </pc:sldMkLst>
        <pc:picChg chg="add mod">
          <ac:chgData name="Roberto Gallardo" userId="49a044883f185952" providerId="LiveId" clId="{1D9F7DF9-91C1-4474-8BB8-D0D096164FC9}" dt="2023-03-09T23:00:23.905" v="128" actId="1035"/>
          <ac:picMkLst>
            <pc:docMk/>
            <pc:sldMk cId="2124848710" sldId="281"/>
            <ac:picMk id="6" creationId="{E4838A1C-3658-3723-D1F6-DE541F2A2DAC}"/>
          </ac:picMkLst>
        </pc:picChg>
      </pc:sldChg>
      <pc:sldChg chg="addSp modSp mod">
        <pc:chgData name="Roberto Gallardo" userId="49a044883f185952" providerId="LiveId" clId="{1D9F7DF9-91C1-4474-8BB8-D0D096164FC9}" dt="2023-03-09T23:00:37.497" v="141" actId="1036"/>
        <pc:sldMkLst>
          <pc:docMk/>
          <pc:sldMk cId="2028175529" sldId="282"/>
        </pc:sldMkLst>
        <pc:picChg chg="add mod">
          <ac:chgData name="Roberto Gallardo" userId="49a044883f185952" providerId="LiveId" clId="{1D9F7DF9-91C1-4474-8BB8-D0D096164FC9}" dt="2023-03-09T23:00:37.497" v="141" actId="1036"/>
          <ac:picMkLst>
            <pc:docMk/>
            <pc:sldMk cId="2028175529" sldId="282"/>
            <ac:picMk id="7" creationId="{5EFFC6B6-47E0-198A-437A-52BF4391A477}"/>
          </ac:picMkLst>
        </pc:picChg>
      </pc:sldChg>
      <pc:sldChg chg="addSp modSp mod">
        <pc:chgData name="Roberto Gallardo" userId="49a044883f185952" providerId="LiveId" clId="{1D9F7DF9-91C1-4474-8BB8-D0D096164FC9}" dt="2023-03-09T23:00:56.159" v="154" actId="1035"/>
        <pc:sldMkLst>
          <pc:docMk/>
          <pc:sldMk cId="1326517747" sldId="283"/>
        </pc:sldMkLst>
        <pc:picChg chg="add mod">
          <ac:chgData name="Roberto Gallardo" userId="49a044883f185952" providerId="LiveId" clId="{1D9F7DF9-91C1-4474-8BB8-D0D096164FC9}" dt="2023-03-09T23:00:56.159" v="154" actId="1035"/>
          <ac:picMkLst>
            <pc:docMk/>
            <pc:sldMk cId="1326517747" sldId="283"/>
            <ac:picMk id="7" creationId="{DDD7A8C7-657B-AC28-2109-8EC26D4BD011}"/>
          </ac:picMkLst>
        </pc:picChg>
      </pc:sldChg>
      <pc:sldChg chg="addSp modSp mod">
        <pc:chgData name="Roberto Gallardo" userId="49a044883f185952" providerId="LiveId" clId="{1D9F7DF9-91C1-4474-8BB8-D0D096164FC9}" dt="2023-03-09T23:01:16.337" v="172" actId="1035"/>
        <pc:sldMkLst>
          <pc:docMk/>
          <pc:sldMk cId="783739251" sldId="284"/>
        </pc:sldMkLst>
        <pc:picChg chg="add mod">
          <ac:chgData name="Roberto Gallardo" userId="49a044883f185952" providerId="LiveId" clId="{1D9F7DF9-91C1-4474-8BB8-D0D096164FC9}" dt="2023-03-09T23:01:16.337" v="172" actId="1035"/>
          <ac:picMkLst>
            <pc:docMk/>
            <pc:sldMk cId="783739251" sldId="284"/>
            <ac:picMk id="7" creationId="{A5D77024-5A0D-C671-9870-BA2E6B97AD52}"/>
          </ac:picMkLst>
        </pc:picChg>
      </pc:sldChg>
      <pc:sldChg chg="addSp modSp mod">
        <pc:chgData name="Roberto Gallardo" userId="49a044883f185952" providerId="LiveId" clId="{1D9F7DF9-91C1-4474-8BB8-D0D096164FC9}" dt="2023-03-09T23:01:32.811" v="183" actId="1038"/>
        <pc:sldMkLst>
          <pc:docMk/>
          <pc:sldMk cId="1676122233" sldId="285"/>
        </pc:sldMkLst>
        <pc:picChg chg="add mod">
          <ac:chgData name="Roberto Gallardo" userId="49a044883f185952" providerId="LiveId" clId="{1D9F7DF9-91C1-4474-8BB8-D0D096164FC9}" dt="2023-03-09T23:01:32.811" v="183" actId="1038"/>
          <ac:picMkLst>
            <pc:docMk/>
            <pc:sldMk cId="1676122233" sldId="285"/>
            <ac:picMk id="7" creationId="{4D8F2018-E5AE-1976-C63E-F89CCC8EC330}"/>
          </ac:picMkLst>
        </pc:picChg>
      </pc:sldChg>
      <pc:sldChg chg="addSp modSp mod">
        <pc:chgData name="Roberto Gallardo" userId="49a044883f185952" providerId="LiveId" clId="{1D9F7DF9-91C1-4474-8BB8-D0D096164FC9}" dt="2023-03-09T23:01:49.578" v="213" actId="1035"/>
        <pc:sldMkLst>
          <pc:docMk/>
          <pc:sldMk cId="3100398757" sldId="286"/>
        </pc:sldMkLst>
        <pc:picChg chg="add mod">
          <ac:chgData name="Roberto Gallardo" userId="49a044883f185952" providerId="LiveId" clId="{1D9F7DF9-91C1-4474-8BB8-D0D096164FC9}" dt="2023-03-09T23:01:49.578" v="213" actId="1035"/>
          <ac:picMkLst>
            <pc:docMk/>
            <pc:sldMk cId="3100398757" sldId="286"/>
            <ac:picMk id="7" creationId="{AAD82476-6093-1B39-E433-C84FFB47BC79}"/>
          </ac:picMkLst>
        </pc:picChg>
      </pc:sldChg>
      <pc:sldChg chg="addSp modSp mod">
        <pc:chgData name="Roberto Gallardo" userId="49a044883f185952" providerId="LiveId" clId="{1D9F7DF9-91C1-4474-8BB8-D0D096164FC9}" dt="2023-03-09T23:02:06.018" v="227" actId="1036"/>
        <pc:sldMkLst>
          <pc:docMk/>
          <pc:sldMk cId="1546475425" sldId="287"/>
        </pc:sldMkLst>
        <pc:picChg chg="add mod">
          <ac:chgData name="Roberto Gallardo" userId="49a044883f185952" providerId="LiveId" clId="{1D9F7DF9-91C1-4474-8BB8-D0D096164FC9}" dt="2023-03-09T23:02:06.018" v="227" actId="1036"/>
          <ac:picMkLst>
            <pc:docMk/>
            <pc:sldMk cId="1546475425" sldId="287"/>
            <ac:picMk id="7" creationId="{21A0501A-AA6D-0232-D5F0-9FDED87CD52B}"/>
          </ac:picMkLst>
        </pc:picChg>
      </pc:sldChg>
      <pc:sldChg chg="addSp modSp mod">
        <pc:chgData name="Roberto Gallardo" userId="49a044883f185952" providerId="LiveId" clId="{1D9F7DF9-91C1-4474-8BB8-D0D096164FC9}" dt="2023-03-09T23:02:38.837" v="263" actId="1035"/>
        <pc:sldMkLst>
          <pc:docMk/>
          <pc:sldMk cId="1380517306" sldId="288"/>
        </pc:sldMkLst>
        <pc:picChg chg="add mod">
          <ac:chgData name="Roberto Gallardo" userId="49a044883f185952" providerId="LiveId" clId="{1D9F7DF9-91C1-4474-8BB8-D0D096164FC9}" dt="2023-03-09T23:02:38.837" v="263" actId="1035"/>
          <ac:picMkLst>
            <pc:docMk/>
            <pc:sldMk cId="1380517306" sldId="288"/>
            <ac:picMk id="7" creationId="{313C1BB3-F35A-A011-DF70-A4F81F5F951D}"/>
          </ac:picMkLst>
        </pc:picChg>
      </pc:sldChg>
      <pc:sldChg chg="addSp modSp mod">
        <pc:chgData name="Roberto Gallardo" userId="49a044883f185952" providerId="LiveId" clId="{1D9F7DF9-91C1-4474-8BB8-D0D096164FC9}" dt="2023-03-09T23:02:55.585" v="276" actId="1035"/>
        <pc:sldMkLst>
          <pc:docMk/>
          <pc:sldMk cId="1388671151" sldId="289"/>
        </pc:sldMkLst>
        <pc:picChg chg="add mod">
          <ac:chgData name="Roberto Gallardo" userId="49a044883f185952" providerId="LiveId" clId="{1D9F7DF9-91C1-4474-8BB8-D0D096164FC9}" dt="2023-03-09T23:02:55.585" v="276" actId="1035"/>
          <ac:picMkLst>
            <pc:docMk/>
            <pc:sldMk cId="1388671151" sldId="289"/>
            <ac:picMk id="7" creationId="{2AD485FE-F5B2-D892-61CE-24C469D5B88F}"/>
          </ac:picMkLst>
        </pc:picChg>
      </pc:sldChg>
      <pc:sldChg chg="addSp modSp mod">
        <pc:chgData name="Roberto Gallardo" userId="49a044883f185952" providerId="LiveId" clId="{1D9F7DF9-91C1-4474-8BB8-D0D096164FC9}" dt="2023-03-09T23:03:25.905" v="320" actId="1036"/>
        <pc:sldMkLst>
          <pc:docMk/>
          <pc:sldMk cId="2355376039" sldId="290"/>
        </pc:sldMkLst>
        <pc:picChg chg="add mod">
          <ac:chgData name="Roberto Gallardo" userId="49a044883f185952" providerId="LiveId" clId="{1D9F7DF9-91C1-4474-8BB8-D0D096164FC9}" dt="2023-03-09T23:03:25.905" v="320" actId="1036"/>
          <ac:picMkLst>
            <pc:docMk/>
            <pc:sldMk cId="2355376039" sldId="290"/>
            <ac:picMk id="8" creationId="{CD561B98-E4C1-5891-779C-21FC7244E089}"/>
          </ac:picMkLst>
        </pc:picChg>
      </pc:sldChg>
      <pc:sldChg chg="addSp modSp mod">
        <pc:chgData name="Roberto Gallardo" userId="49a044883f185952" providerId="LiveId" clId="{1D9F7DF9-91C1-4474-8BB8-D0D096164FC9}" dt="2023-03-09T23:03:43.125" v="349" actId="1036"/>
        <pc:sldMkLst>
          <pc:docMk/>
          <pc:sldMk cId="3757257295" sldId="291"/>
        </pc:sldMkLst>
        <pc:picChg chg="add mod">
          <ac:chgData name="Roberto Gallardo" userId="49a044883f185952" providerId="LiveId" clId="{1D9F7DF9-91C1-4474-8BB8-D0D096164FC9}" dt="2023-03-09T23:03:43.125" v="349" actId="1036"/>
          <ac:picMkLst>
            <pc:docMk/>
            <pc:sldMk cId="3757257295" sldId="291"/>
            <ac:picMk id="8" creationId="{2A822458-0391-D197-1E0E-BDAA3C80C45A}"/>
          </ac:picMkLst>
        </pc:picChg>
      </pc:sldChg>
      <pc:sldChg chg="addSp modSp mod">
        <pc:chgData name="Roberto Gallardo" userId="49a044883f185952" providerId="LiveId" clId="{1D9F7DF9-91C1-4474-8BB8-D0D096164FC9}" dt="2023-03-09T23:02:23.715" v="247" actId="1036"/>
        <pc:sldMkLst>
          <pc:docMk/>
          <pc:sldMk cId="1259856727" sldId="292"/>
        </pc:sldMkLst>
        <pc:spChg chg="mod">
          <ac:chgData name="Roberto Gallardo" userId="49a044883f185952" providerId="LiveId" clId="{1D9F7DF9-91C1-4474-8BB8-D0D096164FC9}" dt="2023-03-09T23:02:13.720" v="230" actId="962"/>
          <ac:spMkLst>
            <pc:docMk/>
            <pc:sldMk cId="1259856727" sldId="292"/>
            <ac:spMk id="2" creationId="{C03B1400-5F72-D252-1DBE-EDCD6E63B07C}"/>
          </ac:spMkLst>
        </pc:spChg>
        <pc:picChg chg="add mod">
          <ac:chgData name="Roberto Gallardo" userId="49a044883f185952" providerId="LiveId" clId="{1D9F7DF9-91C1-4474-8BB8-D0D096164FC9}" dt="2023-03-09T23:02:23.715" v="247" actId="1036"/>
          <ac:picMkLst>
            <pc:docMk/>
            <pc:sldMk cId="1259856727" sldId="292"/>
            <ac:picMk id="7" creationId="{B137F88F-CD3A-3B29-FD84-95AA214A90F4}"/>
          </ac:picMkLst>
        </pc:picChg>
      </pc:sldChg>
      <pc:sldChg chg="addSp modSp mod">
        <pc:chgData name="Roberto Gallardo" userId="49a044883f185952" providerId="LiveId" clId="{1D9F7DF9-91C1-4474-8BB8-D0D096164FC9}" dt="2023-03-09T23:00:04.193" v="103" actId="1035"/>
        <pc:sldMkLst>
          <pc:docMk/>
          <pc:sldMk cId="3324519687" sldId="293"/>
        </pc:sldMkLst>
        <pc:picChg chg="add mod">
          <ac:chgData name="Roberto Gallardo" userId="49a044883f185952" providerId="LiveId" clId="{1D9F7DF9-91C1-4474-8BB8-D0D096164FC9}" dt="2023-03-09T23:00:04.193" v="103" actId="1035"/>
          <ac:picMkLst>
            <pc:docMk/>
            <pc:sldMk cId="3324519687" sldId="293"/>
            <ac:picMk id="7" creationId="{15787FA9-015D-B908-9732-3C959238DBA0}"/>
          </ac:picMkLst>
        </pc:picChg>
      </pc:sldChg>
      <pc:sldChg chg="addSp modSp mod">
        <pc:chgData name="Roberto Gallardo" userId="49a044883f185952" providerId="LiveId" clId="{1D9F7DF9-91C1-4474-8BB8-D0D096164FC9}" dt="2023-03-09T22:59:27.817" v="82" actId="1076"/>
        <pc:sldMkLst>
          <pc:docMk/>
          <pc:sldMk cId="3256182630" sldId="295"/>
        </pc:sldMkLst>
        <pc:picChg chg="add mod">
          <ac:chgData name="Roberto Gallardo" userId="49a044883f185952" providerId="LiveId" clId="{1D9F7DF9-91C1-4474-8BB8-D0D096164FC9}" dt="2023-03-09T22:59:27.817" v="82" actId="1076"/>
          <ac:picMkLst>
            <pc:docMk/>
            <pc:sldMk cId="3256182630" sldId="295"/>
            <ac:picMk id="7" creationId="{CAB26602-65A4-EA71-E5A3-E68D28309925}"/>
          </ac:picMkLst>
        </pc:picChg>
      </pc:sldChg>
      <pc:sldChg chg="addSp modSp mod">
        <pc:chgData name="Roberto Gallardo" userId="49a044883f185952" providerId="LiveId" clId="{1D9F7DF9-91C1-4474-8BB8-D0D096164FC9}" dt="2023-03-09T22:59:49.690" v="94" actId="1076"/>
        <pc:sldMkLst>
          <pc:docMk/>
          <pc:sldMk cId="4057156843" sldId="296"/>
        </pc:sldMkLst>
        <pc:picChg chg="add mod">
          <ac:chgData name="Roberto Gallardo" userId="49a044883f185952" providerId="LiveId" clId="{1D9F7DF9-91C1-4474-8BB8-D0D096164FC9}" dt="2023-03-09T22:59:49.690" v="94" actId="1076"/>
          <ac:picMkLst>
            <pc:docMk/>
            <pc:sldMk cId="4057156843" sldId="296"/>
            <ac:picMk id="7" creationId="{A3D08325-8099-0F44-BEE4-6D036CF105E1}"/>
          </ac:picMkLst>
        </pc:picChg>
      </pc:sldChg>
      <pc:sldChg chg="addSp modSp mod">
        <pc:chgData name="Roberto Gallardo" userId="49a044883f185952" providerId="LiveId" clId="{1D9F7DF9-91C1-4474-8BB8-D0D096164FC9}" dt="2023-03-09T22:59:07.406" v="69" actId="1076"/>
        <pc:sldMkLst>
          <pc:docMk/>
          <pc:sldMk cId="2080110827" sldId="297"/>
        </pc:sldMkLst>
        <pc:picChg chg="add mod">
          <ac:chgData name="Roberto Gallardo" userId="49a044883f185952" providerId="LiveId" clId="{1D9F7DF9-91C1-4474-8BB8-D0D096164FC9}" dt="2023-03-09T22:59:07.406" v="69" actId="1076"/>
          <ac:picMkLst>
            <pc:docMk/>
            <pc:sldMk cId="2080110827" sldId="297"/>
            <ac:picMk id="6" creationId="{C573C19E-B49B-4E22-8F68-1B42D25AC349}"/>
          </ac:picMkLst>
        </pc:picChg>
      </pc:sldChg>
      <pc:sldChg chg="addSp modSp mod">
        <pc:chgData name="Roberto Gallardo" userId="49a044883f185952" providerId="LiveId" clId="{1D9F7DF9-91C1-4474-8BB8-D0D096164FC9}" dt="2023-03-09T22:58:49.022" v="59" actId="1076"/>
        <pc:sldMkLst>
          <pc:docMk/>
          <pc:sldMk cId="1532666867" sldId="298"/>
        </pc:sldMkLst>
        <pc:picChg chg="add mod">
          <ac:chgData name="Roberto Gallardo" userId="49a044883f185952" providerId="LiveId" clId="{1D9F7DF9-91C1-4474-8BB8-D0D096164FC9}" dt="2023-03-09T22:58:49.022" v="59" actId="1076"/>
          <ac:picMkLst>
            <pc:docMk/>
            <pc:sldMk cId="1532666867" sldId="298"/>
            <ac:picMk id="6" creationId="{1643D0D0-4B89-79F1-AE7F-3407231DF7E5}"/>
          </ac:picMkLst>
        </pc:picChg>
      </pc:sldChg>
      <pc:sldChg chg="addSp modSp mod">
        <pc:chgData name="Roberto Gallardo" userId="49a044883f185952" providerId="LiveId" clId="{1D9F7DF9-91C1-4474-8BB8-D0D096164FC9}" dt="2023-03-09T23:03:10.430" v="295" actId="1035"/>
        <pc:sldMkLst>
          <pc:docMk/>
          <pc:sldMk cId="1951376777" sldId="299"/>
        </pc:sldMkLst>
        <pc:picChg chg="add mod">
          <ac:chgData name="Roberto Gallardo" userId="49a044883f185952" providerId="LiveId" clId="{1D9F7DF9-91C1-4474-8BB8-D0D096164FC9}" dt="2023-03-09T23:03:10.430" v="295" actId="1035"/>
          <ac:picMkLst>
            <pc:docMk/>
            <pc:sldMk cId="1951376777" sldId="299"/>
            <ac:picMk id="7" creationId="{56A281CC-96C0-66B3-61C6-2DBAF9D86D65}"/>
          </ac:picMkLst>
        </pc:picChg>
      </pc:sldChg>
      <pc:sldChg chg="modSp mod">
        <pc:chgData name="Roberto Gallardo" userId="49a044883f185952" providerId="LiveId" clId="{1D9F7DF9-91C1-4474-8BB8-D0D096164FC9}" dt="2023-02-25T19:31:27.923" v="45" actId="14100"/>
        <pc:sldMkLst>
          <pc:docMk/>
          <pc:sldMk cId="2366022307" sldId="306"/>
        </pc:sldMkLst>
        <pc:spChg chg="mod">
          <ac:chgData name="Roberto Gallardo" userId="49a044883f185952" providerId="LiveId" clId="{1D9F7DF9-91C1-4474-8BB8-D0D096164FC9}" dt="2023-02-25T19:31:10.713" v="22" actId="1036"/>
          <ac:spMkLst>
            <pc:docMk/>
            <pc:sldMk cId="2366022307" sldId="306"/>
            <ac:spMk id="11" creationId="{09F5AE19-B4E3-7788-F25F-CDA80D596DAF}"/>
          </ac:spMkLst>
        </pc:spChg>
        <pc:grpChg chg="mod">
          <ac:chgData name="Roberto Gallardo" userId="49a044883f185952" providerId="LiveId" clId="{1D9F7DF9-91C1-4474-8BB8-D0D096164FC9}" dt="2023-02-25T19:30:51.512" v="6" actId="1035"/>
          <ac:grpSpMkLst>
            <pc:docMk/>
            <pc:sldMk cId="2366022307" sldId="306"/>
            <ac:grpSpMk id="6" creationId="{4BC0EAD3-A621-359E-F822-1BC272A15D80}"/>
          </ac:grpSpMkLst>
        </pc:grpChg>
        <pc:cxnChg chg="mod">
          <ac:chgData name="Roberto Gallardo" userId="49a044883f185952" providerId="LiveId" clId="{1D9F7DF9-91C1-4474-8BB8-D0D096164FC9}" dt="2023-02-25T19:31:25.044" v="44" actId="1036"/>
          <ac:cxnSpMkLst>
            <pc:docMk/>
            <pc:sldMk cId="2366022307" sldId="306"/>
            <ac:cxnSpMk id="27" creationId="{F0CF8142-8895-D0A8-A662-E40568742508}"/>
          </ac:cxnSpMkLst>
        </pc:cxnChg>
        <pc:cxnChg chg="mod">
          <ac:chgData name="Roberto Gallardo" userId="49a044883f185952" providerId="LiveId" clId="{1D9F7DF9-91C1-4474-8BB8-D0D096164FC9}" dt="2023-02-25T19:31:27.923" v="45" actId="14100"/>
          <ac:cxnSpMkLst>
            <pc:docMk/>
            <pc:sldMk cId="2366022307" sldId="306"/>
            <ac:cxnSpMk id="28" creationId="{15C28C80-F0E1-159F-F103-CEA53436F6F9}"/>
          </ac:cxnSpMkLst>
        </pc:cxnChg>
        <pc:cxnChg chg="mod">
          <ac:chgData name="Roberto Gallardo" userId="49a044883f185952" providerId="LiveId" clId="{1D9F7DF9-91C1-4474-8BB8-D0D096164FC9}" dt="2023-02-25T19:31:15.100" v="23" actId="14100"/>
          <ac:cxnSpMkLst>
            <pc:docMk/>
            <pc:sldMk cId="2366022307" sldId="306"/>
            <ac:cxnSpMk id="29" creationId="{783CFD35-8D28-EF95-B783-8C1E52BEC855}"/>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9/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9/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Bladen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1BD710E-02B3-FE5A-2A20-776849498460}"/>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F94733CE-4663-0FB9-0BCF-5A16B1CCEFFB}"/>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09170512-1511-DAD8-EB98-F3BEC2C8C4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1643D0D0-4B89-79F1-AE7F-3407231DF7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2846"/>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C573C19E-B49B-4E22-8F68-1B42D25AC34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1987" y="1036332"/>
            <a:ext cx="7591826" cy="5368614"/>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D4818B2F-1787-D199-96D8-1A5CE675C0F1}"/>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CAB26602-65A4-EA71-E5A3-E68D283099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930"/>
            <a:ext cx="6403975" cy="4528616"/>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0DCF8336-DFAA-266A-D547-C525EB5B75D0}"/>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A3D08325-8099-0F44-BEE4-6D036CF105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41"/>
            <a:ext cx="6403975" cy="4528617"/>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CEA75A90-6C53-4CBF-F45E-88473777F72D}"/>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15787FA9-015D-B908-9732-3C959238DB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227"/>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5A29136-A4F6-1A33-D947-CB7D135E7D2D}"/>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E4838A1C-3658-3723-D1F6-DE541F2A2D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6421"/>
            <a:ext cx="6408097" cy="453153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32094CB4-C3D5-D38A-8B7A-C2F7114C69D7}"/>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5EFFC6B6-47E0-198A-437A-52BF4391A4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08522"/>
            <a:ext cx="6400800" cy="452637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CD1D7737-4923-5768-3B32-5B2BCF0AF781}"/>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DD7A8C7-657B-AC28-2109-8EC26D4BD0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1789"/>
            <a:ext cx="6404826" cy="4529218"/>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E839D182-2EDE-1C8E-03DA-3F2A05D0EC7C}"/>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5D77024-5A0D-C671-9870-BA2E6B97AD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613"/>
            <a:ext cx="6400801"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2BEF0860-8528-5183-6C77-3B7BD6D5AA5E}"/>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D8F2018-E5AE-1976-C63E-F89CCC8EC3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7509" y="1411832"/>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F27484E1-699E-1602-D7A4-7524535FC0A1}"/>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AD82476-6093-1B39-E433-C84FFB47BC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934"/>
            <a:ext cx="6410325" cy="4533107"/>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5133F638-4C03-D7A9-1B79-AC3C6CDDFFCD}"/>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21A0501A-AA6D-0232-D5F0-9FDED87CD5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08522"/>
            <a:ext cx="6400800"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1D8C4AE7-18E3-5BA9-F4B3-742260EC074C}"/>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B137F88F-CD3A-3B29-FD84-95AA214A90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7278"/>
            <a:ext cx="6399481" cy="4525439"/>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91AB6CB6-0D64-FD51-E006-B1FD3E596C4D}"/>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313C1BB3-F35A-A011-DF70-A4F81F5F95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08523"/>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DFB3924E-7D37-AEA3-7E92-7D2CC921FF48}"/>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2AD485FE-F5B2-D892-61CE-24C469D5B8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399811"/>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40E9AFA2-38FF-C75C-46C8-3D2877EEB56D}"/>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 map&#10;&#10;Description automatically generated">
            <a:extLst>
              <a:ext uri="{FF2B5EF4-FFF2-40B4-BE49-F238E27FC236}">
                <a16:creationId xmlns:a16="http://schemas.microsoft.com/office/drawing/2014/main" id="{56A281CC-96C0-66B3-61C6-2DBAF9D86D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08545"/>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C48F4418-C792-4EAA-93AB-4C5346C21CAE}"/>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Diagram, map&#10;&#10;Description automatically generated">
            <a:extLst>
              <a:ext uri="{FF2B5EF4-FFF2-40B4-BE49-F238E27FC236}">
                <a16:creationId xmlns:a16="http://schemas.microsoft.com/office/drawing/2014/main" id="{CD561B98-E4C1-5891-779C-21FC7244E0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06688"/>
            <a:ext cx="6400800" cy="452637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952ACBCC-329E-4C78-92E1-9D3E3C4F7966}"/>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CA4E0B5C-2B1C-6D2E-8725-1823FB6BF788}"/>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2A822458-0391-D197-1E0E-BDAA3C80C4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4009"/>
            <a:ext cx="6400801"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E7134ACB-06D9-6C1E-E71D-357E0F999375}"/>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05F0503-071D-2AE3-E073-525FB5168AEA}"/>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0245A9A-EE30-0F1F-F758-B91F77745A3D}"/>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64427" y="3221430"/>
            <a:ext cx="1198148" cy="1490613"/>
            <a:chOff x="10485745" y="3390987"/>
            <a:chExt cx="1198148" cy="149061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66513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4.9</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339098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3390987"/>
              <a:ext cx="0" cy="2741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557686"/>
              <a:ext cx="0" cy="3239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76257" y="2696275"/>
            <a:ext cx="1198148" cy="2200527"/>
            <a:chOff x="2775759" y="2291483"/>
            <a:chExt cx="1198148" cy="220052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7052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9</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3704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29148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291483"/>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63078"/>
              <a:ext cx="0" cy="62893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D1CB6E72-3A21-0B4B-00E1-D65F47037E22}"/>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3B2C5329-F345-B0E7-0709-48CCEB2356B2}"/>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E9E0270-D1E0-E809-A775-A200A18124E4}"/>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EB6216AD-FFA9-8F92-FCE7-0F7DB86A323C}"/>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E5BF293A-A218-F3BF-0E3C-C5F4410DAE46}"/>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BA4B691E-D1CE-09F9-A21D-3AE27A85536D}"/>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6D421C2F-AF99-3AC8-D932-163D75D53195}"/>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DBE13467-D124-C3BF-7D6A-36BFF16BB0C0}"/>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31</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22</cp:revision>
  <dcterms:created xsi:type="dcterms:W3CDTF">2022-07-04T13:32:28Z</dcterms:created>
  <dcterms:modified xsi:type="dcterms:W3CDTF">2023-03-09T23:03:51Z</dcterms:modified>
</cp:coreProperties>
</file>